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89" d="100"/>
          <a:sy n="89" d="100"/>
        </p:scale>
        <p:origin x="1524" y="90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4/18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4/18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5" baseType="lpstr">
      <vt:lpstr>ＭＳ Ｐゴシック</vt:lpstr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Wingdings 2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Машков Виталий Владимирович</cp:lastModifiedBy>
  <cp:revision>4313</cp:revision>
  <cp:lastPrinted>2013-08-18T11:38:26Z</cp:lastPrinted>
  <dcterms:created xsi:type="dcterms:W3CDTF">2010-08-23T12:41:44Z</dcterms:created>
  <dcterms:modified xsi:type="dcterms:W3CDTF">2016-04-18T14:54:26Z</dcterms:modified>
</cp:coreProperties>
</file>